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3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5"/>
  </p:notesMasterIdLst>
  <p:sldIdLst>
    <p:sldId id="2147378078" r:id="rId5"/>
    <p:sldId id="2147475149" r:id="rId6"/>
    <p:sldId id="2147473412" r:id="rId7"/>
    <p:sldId id="13801" r:id="rId8"/>
    <p:sldId id="2147473384" r:id="rId9"/>
    <p:sldId id="2147475168" r:id="rId10"/>
    <p:sldId id="2147475151" r:id="rId11"/>
    <p:sldId id="2147475152" r:id="rId12"/>
    <p:sldId id="2147475148" r:id="rId13"/>
    <p:sldId id="2147475150" r:id="rId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B6E81D5E-7428-4206-B7E6-6B818DF1C011}"/>
    <pc:docChg chg="custSel modSld delMainMaster modMainMaster">
      <pc:chgData name="Neriman EL HADIDI" userId="4b24840c-84b3-44ac-9131-ca3568cb403b" providerId="ADAL" clId="{B6E81D5E-7428-4206-B7E6-6B818DF1C011}" dt="2024-11-01T08:47:36.460" v="10"/>
      <pc:docMkLst>
        <pc:docMk/>
      </pc:docMkLst>
      <pc:sldChg chg="delSp mod">
        <pc:chgData name="Neriman EL HADIDI" userId="4b24840c-84b3-44ac-9131-ca3568cb403b" providerId="ADAL" clId="{B6E81D5E-7428-4206-B7E6-6B818DF1C011}" dt="2024-11-01T08:44:36.398" v="0" actId="478"/>
        <pc:sldMkLst>
          <pc:docMk/>
          <pc:sldMk cId="0" sldId="2147473412"/>
        </pc:sldMkLst>
        <pc:spChg chg="del">
          <ac:chgData name="Neriman EL HADIDI" userId="4b24840c-84b3-44ac-9131-ca3568cb403b" providerId="ADAL" clId="{B6E81D5E-7428-4206-B7E6-6B818DF1C011}" dt="2024-11-01T08:44:36.398" v="0" actId="478"/>
          <ac:spMkLst>
            <pc:docMk/>
            <pc:sldMk cId="0" sldId="2147473412"/>
            <ac:spMk id="3" creationId="{628F787F-C378-5EE4-B305-0AE361710C10}"/>
          </ac:spMkLst>
        </pc:spChg>
        <pc:spChg chg="del">
          <ac:chgData name="Neriman EL HADIDI" userId="4b24840c-84b3-44ac-9131-ca3568cb403b" providerId="ADAL" clId="{B6E81D5E-7428-4206-B7E6-6B818DF1C011}" dt="2024-11-01T08:44:36.398" v="0" actId="478"/>
          <ac:spMkLst>
            <pc:docMk/>
            <pc:sldMk cId="0" sldId="2147473412"/>
            <ac:spMk id="8" creationId="{B0B95055-509A-F445-86D3-A92D25C20D8B}"/>
          </ac:spMkLst>
        </pc:spChg>
      </pc:sldChg>
      <pc:sldChg chg="modSp">
        <pc:chgData name="Neriman EL HADIDI" userId="4b24840c-84b3-44ac-9131-ca3568cb403b" providerId="ADAL" clId="{B6E81D5E-7428-4206-B7E6-6B818DF1C011}" dt="2024-11-01T08:47:36.460" v="10"/>
        <pc:sldMkLst>
          <pc:docMk/>
          <pc:sldMk cId="1059335515" sldId="2147475149"/>
        </pc:sldMkLst>
        <pc:graphicFrameChg chg="mod">
          <ac:chgData name="Neriman EL HADIDI" userId="4b24840c-84b3-44ac-9131-ca3568cb403b" providerId="ADAL" clId="{B6E81D5E-7428-4206-B7E6-6B818DF1C011}" dt="2024-11-01T08:47:36.460" v="10"/>
          <ac:graphicFrameMkLst>
            <pc:docMk/>
            <pc:sldMk cId="1059335515" sldId="2147475149"/>
            <ac:graphicFrameMk id="30" creationId="{BEA8EE7C-F76C-4D6E-8B71-2C2B6C6C031D}"/>
          </ac:graphicFrameMkLst>
        </pc:graphicFrameChg>
        <pc:graphicFrameChg chg="mod">
          <ac:chgData name="Neriman EL HADIDI" userId="4b24840c-84b3-44ac-9131-ca3568cb403b" providerId="ADAL" clId="{B6E81D5E-7428-4206-B7E6-6B818DF1C011}" dt="2024-11-01T08:47:29.505" v="9"/>
          <ac:graphicFrameMkLst>
            <pc:docMk/>
            <pc:sldMk cId="1059335515" sldId="2147475149"/>
            <ac:graphicFrameMk id="31" creationId="{D60E6CB1-B8E9-4BFA-A4C2-BE3B93DBDF82}"/>
          </ac:graphicFrameMkLst>
        </pc:graphicFrameChg>
        <pc:graphicFrameChg chg="mod">
          <ac:chgData name="Neriman EL HADIDI" userId="4b24840c-84b3-44ac-9131-ca3568cb403b" providerId="ADAL" clId="{B6E81D5E-7428-4206-B7E6-6B818DF1C011}" dt="2024-11-01T08:47:09.717" v="8"/>
          <ac:graphicFrameMkLst>
            <pc:docMk/>
            <pc:sldMk cId="1059335515" sldId="2147475149"/>
            <ac:graphicFrameMk id="32" creationId="{7F09B27F-4E26-4EFB-8578-68A3DB9629CA}"/>
          </ac:graphicFrameMkLst>
        </pc:graphicFrameChg>
      </pc:sldChg>
      <pc:sldMasterChg chg="del">
        <pc:chgData name="Neriman EL HADIDI" userId="4b24840c-84b3-44ac-9131-ca3568cb403b" providerId="ADAL" clId="{B6E81D5E-7428-4206-B7E6-6B818DF1C011}" dt="2024-11-01T08:45:39.187" v="1" actId="2696"/>
        <pc:sldMasterMkLst>
          <pc:docMk/>
          <pc:sldMasterMk cId="823099819" sldId="2147483792"/>
        </pc:sldMasterMkLst>
      </pc:sldMasterChg>
      <pc:sldMasterChg chg="del">
        <pc:chgData name="Neriman EL HADIDI" userId="4b24840c-84b3-44ac-9131-ca3568cb403b" providerId="ADAL" clId="{B6E81D5E-7428-4206-B7E6-6B818DF1C011}" dt="2024-11-01T08:46:04.026" v="2" actId="2696"/>
        <pc:sldMasterMkLst>
          <pc:docMk/>
          <pc:sldMasterMk cId="4279359491" sldId="2147483842"/>
        </pc:sldMasterMkLst>
      </pc:sldMasterChg>
      <pc:sldMasterChg chg="modSldLayout">
        <pc:chgData name="Neriman EL HADIDI" userId="4b24840c-84b3-44ac-9131-ca3568cb403b" providerId="ADAL" clId="{B6E81D5E-7428-4206-B7E6-6B818DF1C011}" dt="2024-11-01T08:46:19.132" v="3" actId="14100"/>
        <pc:sldMasterMkLst>
          <pc:docMk/>
          <pc:sldMasterMk cId="4001983691" sldId="2147483946"/>
        </pc:sldMasterMkLst>
        <pc:sldLayoutChg chg="modSp mod">
          <pc:chgData name="Neriman EL HADIDI" userId="4b24840c-84b3-44ac-9131-ca3568cb403b" providerId="ADAL" clId="{B6E81D5E-7428-4206-B7E6-6B818DF1C011}" dt="2024-11-01T08:46:19.132" v="3" actId="14100"/>
          <pc:sldLayoutMkLst>
            <pc:docMk/>
            <pc:sldMasterMk cId="4001983691" sldId="2147483946"/>
            <pc:sldLayoutMk cId="4023644576" sldId="2147484007"/>
          </pc:sldLayoutMkLst>
          <pc:spChg chg="mod">
            <ac:chgData name="Neriman EL HADIDI" userId="4b24840c-84b3-44ac-9131-ca3568cb403b" providerId="ADAL" clId="{B6E81D5E-7428-4206-B7E6-6B818DF1C011}" dt="2024-11-01T08:46:19.132" v="3" actId="14100"/>
            <ac:spMkLst>
              <pc:docMk/>
              <pc:sldMasterMk cId="4001983691" sldId="2147483946"/>
              <pc:sldLayoutMk cId="4023644576" sldId="2147484007"/>
              <ac:spMk id="2" creationId="{E5808D65-B4B3-3AF9-D068-D172F8F8A3C9}"/>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chemeClr val="bg2"/>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chemeClr val="bg2"/>
              </a:solidFill>
            </c:spPr>
            <c:extLst>
              <c:ext xmlns:c16="http://schemas.microsoft.com/office/drawing/2014/chart" uri="{C3380CC4-5D6E-409C-BE32-E72D297353CC}">
                <c16:uniqueId val="{00000011-78D1-41D4-ABFA-320BD44357BD}"/>
              </c:ext>
            </c:extLst>
          </c:dPt>
          <c:dPt>
            <c:idx val="9"/>
            <c:invertIfNegative val="1"/>
            <c:bubble3D val="0"/>
            <c:spPr>
              <a:solidFill>
                <a:schemeClr val="bg2"/>
              </a:solidFill>
            </c:spPr>
            <c:extLst>
              <c:ext xmlns:c16="http://schemas.microsoft.com/office/drawing/2014/chart" uri="{C3380CC4-5D6E-409C-BE32-E72D297353CC}">
                <c16:uniqueId val="{00000013-78D1-41D4-ABFA-320BD44357BD}"/>
              </c:ext>
            </c:extLst>
          </c:dPt>
          <c:dPt>
            <c:idx val="10"/>
            <c:invertIfNegative val="1"/>
            <c:bubble3D val="0"/>
            <c:spPr>
              <a:solidFill>
                <a:schemeClr val="bg2"/>
              </a:solidFill>
            </c:spPr>
            <c:extLst>
              <c:ext xmlns:c16="http://schemas.microsoft.com/office/drawing/2014/chart" uri="{C3380CC4-5D6E-409C-BE32-E72D297353CC}">
                <c16:uniqueId val="{00000015-78D1-41D4-ABFA-320BD44357BD}"/>
              </c:ext>
            </c:extLst>
          </c:dPt>
          <c:dPt>
            <c:idx val="11"/>
            <c:invertIfNegative val="1"/>
            <c:bubble3D val="0"/>
            <c:spPr>
              <a:solidFill>
                <a:schemeClr val="bg2"/>
              </a:solidFill>
            </c:spPr>
            <c:extLst>
              <c:ext xmlns:c16="http://schemas.microsoft.com/office/drawing/2014/chart" uri="{C3380CC4-5D6E-409C-BE32-E72D297353CC}">
                <c16:uniqueId val="{00000017-78D1-41D4-ABFA-320BD44357BD}"/>
              </c:ext>
            </c:extLst>
          </c:dPt>
          <c:dLbls>
            <c:dLbl>
              <c:idx val="0"/>
              <c:tx>
                <c:rich>
                  <a:bodyPr/>
                  <a:lstStyle/>
                  <a:p>
                    <a:fld id="{B8954D8C-A426-4C43-AD2C-580474202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44D120B-3DF4-41FA-A550-459AFA97FA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8F1B4CE-93DC-4301-8C7E-6DA32DC121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4FA7FB7-B8F1-4177-8210-DEE90DAC32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7B9B0D0-A118-44E4-9471-11C1668DF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0AD22FD-9588-41D8-A8EE-48B33B608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5FAF1EA-57E4-4038-99C7-C1646D5B2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DFF2815-1D03-4E7E-8EF5-CC4AF79F4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0"/>
        <c:ser>
          <c:idx val="2"/>
          <c:order val="0"/>
          <c:tx>
            <c:strRef>
              <c:f>Sheet1!$B$1</c:f>
              <c:strCache>
                <c:ptCount val="1"/>
                <c:pt idx="0">
                  <c:v>vs YA</c:v>
                </c:pt>
              </c:strCache>
            </c:strRef>
          </c:tx>
          <c:spPr>
            <a:solidFill>
              <a:srgbClr val="DEDDDD"/>
            </a:solidFill>
            <a:ln w="9525" cap="flat" cmpd="sng" algn="ctr">
              <a:noFill/>
              <a:round/>
            </a:ln>
            <a:effectLst/>
          </c:spPr>
          <c:invertIfNegative val="1"/>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575555">
                <a:lumMod val="20000"/>
                <a:lumOff val="80000"/>
              </a:srgbClr>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chemeClr val="tx1">
                <a:lumMod val="20000"/>
                <a:lumOff val="80000"/>
                <a:alpha val="85000"/>
              </a:scheme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chemeClr val="tx1">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chemeClr val="tx1">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B4F0170D-4CD2-4B43-8A42-1E87CF7FE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2A923AC9-3FF7-4CB7-8F96-FC50EA4C9F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B7062AC-34DA-4759-BAE6-1B2B4C481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63AB1F52-2451-49D4-B4F6-EE6FB04E9F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DE483D7-D2BF-427A-B163-847B0AC528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2815B3A4-8FAC-4E21-895E-627FB41FB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9529154-7936-42E2-A2E2-775D5469AF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BD56405E-7982-4FEE-BC3F-AD6578401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45FFE59D-096E-40EE-A2FF-D8871F0A9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37D66EC5-253A-42AB-A7ED-096047FD8D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F48DD659-AA06-452C-B6BD-904354E07F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C3DBC97-603B-47D0-BF6C-B5D10AAB10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4951877B-76A6-4106-94D5-2AE248883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CF41A99B-3996-4A2E-B84C-3B1E89283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281CED4C-2D58-41C1-B8D5-BA6E290A4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70DFD32B-C4B0-42E2-B4FD-2124DAFDD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1D005A0-9FB5-467D-9FC4-4817E2AD0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445CCB30-3DB3-46D5-A039-18CD04F84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ACADE5E6-7124-480B-AE3F-D3442971AF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3A819EA-ED64-4A43-9891-6DD5E4597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F397BEBF-50F3-4EB5-A124-36393B6BB2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6DB6E9CE-8C58-4FD2-BCC2-BE931ED21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0130C653-997E-40AC-AD21-5241C17D3F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F3A707DE-A177-42ED-9EA2-38B116C0B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3EFCCCC1-17C7-4298-BB9A-6CDF522917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3CD5355E-D608-4C07-90C7-DBCBF5690E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41B2E8B9-5D1C-49A0-A803-8EF3B1597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D2EE7EBB-DC58-4CA0-BAF3-4DB6B1B74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894FAB83-BC07-4A1F-8F12-27BF5EA02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C8FF53BD-4DB7-4247-90CB-82CE15E32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5794A44B-42E1-42FF-8F5D-E9BB30D03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A3B943F8-D527-4B7C-AE1A-B3E905BE27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AE485264-5842-44E9-B299-99098312E9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3E30486-0850-47F7-A33C-B9B7FB149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BEE73A9D-09D2-4980-AAEF-9143218E2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C5CCBDA9-083C-43E5-AF9C-8C2ED1A91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B18CCA07-569D-43E5-90BF-CF6687EC2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7078F1BC-FBC1-4C51-A102-C3202E628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7AFFF0D-0364-46BB-BF15-8E718C320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4E28A039-A4AE-4342-AA5D-75A9284F5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E5467B4E-24B5-4471-9B55-03E16EA93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4A6A1587-EDCF-45E8-95B2-11F7AE591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85ECE3DC-334A-4FB9-B97F-B453E79643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2907CCAF-4E56-4C60-8CD6-871DB5282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CEAD5EFC-9F96-434F-812C-D44AD2917A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1A19D8A-3275-40FF-9624-925093A7C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A1213868-C915-45A0-8D8E-ADAA9CC29E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9BD43C8A-2E15-4720-B15B-92809B584B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D9626DC8-ABD6-4670-8F28-E88D41F218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8EF07246-A4E1-453E-9283-A2AE6F8840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BB4A2DC-A0E3-4745-968B-41E8EB2FA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D285F28-EC77-44FE-ABA1-0919B3A33A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5EFFF58F-1033-4C2E-82AA-D0299F60C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BE6CA8A7-9227-4616-A9EE-14AAA7F6E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BA01C694-CB02-4CF4-9E2D-2F1DE9383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D67C7069-E6F6-4AA1-850B-6CCF09FA5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B4B7C804-9B56-4F70-A750-D41ADC8D4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28/04/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2.xml"/><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190070400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325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3398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866172128"/>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659959031"/>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3332629962"/>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59335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fr-FR"/>
              <a:t>DATA SOURCE: Client P&amp;L</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US" dirty="0"/>
              <a:t>Sector KPIs Summary | Cream Cheese | National | Hershey</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r>
              <a:rPr lang="en-US" dirty="0">
                <a:highlight>
                  <a:srgbClr val="FFFF00"/>
                </a:highlight>
              </a:rPr>
              <a:t>Sector</a:t>
            </a:r>
            <a:r>
              <a:rPr lang="en-CH" dirty="0">
                <a:highlight>
                  <a:srgbClr val="FFFF00"/>
                </a:highlight>
              </a:rPr>
              <a:t>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nvGraphicFramePr>
        <p:xfrm>
          <a:off x="546970" y="1134112"/>
          <a:ext cx="8093029" cy="1514071"/>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425601">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Sector</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 Sales (</a:t>
                      </a:r>
                      <a:r>
                        <a:rPr lang="fr-CH" sz="900" u="none" strike="noStrike">
                          <a:solidFill>
                            <a:schemeClr val="tx2"/>
                          </a:solidFill>
                          <a:effectLst/>
                          <a:highlight>
                            <a:srgbClr val="FFFF00"/>
                          </a:highlight>
                          <a:latin typeface="Nexa Bold" panose="00000800000000000000"/>
                          <a:ea typeface="Open Sans" panose="020B0606030504020204" pitchFamily="34" charset="0"/>
                          <a:cs typeface="Open Sans" panose="020B0606030504020204" pitchFamily="34" charset="0"/>
                        </a:rPr>
                        <a:t>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17694">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5065472"/>
                  </a:ext>
                </a:extLst>
              </a:tr>
              <a:tr h="217694">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Brick</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217694">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Whipped</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119</a:t>
                      </a:r>
                      <a:r>
                        <a:rPr lang="en-US" sz="800">
                          <a:solidFill>
                            <a:srgbClr val="575555"/>
                          </a:solidFill>
                          <a:latin typeface="Nexa Book"/>
                        </a:rPr>
                        <a:t>.3</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217694">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Pudding/Mousse/Gelatin/Parfaits</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10</a:t>
                      </a:r>
                      <a:r>
                        <a:rPr lang="en-US"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3%</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217694">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Dips</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CH" sz="800">
                          <a:solidFill>
                            <a:srgbClr val="575555"/>
                          </a:solidFill>
                          <a:latin typeface="Nexa Book"/>
                        </a:rPr>
                        <a:t>5</a:t>
                      </a:r>
                      <a:r>
                        <a:rPr lang="en-US" sz="800">
                          <a:solidFill>
                            <a:srgbClr val="575555"/>
                          </a:solidFill>
                          <a:latin typeface="Nexa Book"/>
                        </a:rPr>
                        <a:t>.2</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0%</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3%</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4</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8620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a:solidFill>
                            <a:schemeClr val="tx1"/>
                          </a:solidFill>
                          <a:latin typeface="Nexa Bold" panose="00000800000000000000" pitchFamily="2" charset="0"/>
                        </a:rPr>
                        <a:t>National</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56762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30686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468551370"/>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02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2189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29997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113E98-7689-4749-B74E-87793737B60D}">
  <ds:schemaRefs>
    <ds:schemaRef ds:uri="http://schemas.microsoft.com/sharepoint/v3/contenttype/forms"/>
  </ds:schemaRefs>
</ds:datastoreItem>
</file>

<file path=customXml/itemProps2.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3.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2</TotalTime>
  <Words>4413</Words>
  <Application>Microsoft Office PowerPoint</Application>
  <PresentationFormat>On-screen Show (16:9)</PresentationFormat>
  <Paragraphs>1709</Paragraphs>
  <Slides>10</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Trade Margin Analysis by Retailer (Replace with So What)</vt:lpstr>
      <vt:lpstr>Sector KPIs Summary (Replace with So What)</vt:lpstr>
      <vt:lpstr>SKU KPIs Summary (Replace with So What)</vt:lpstr>
      <vt:lpstr>Mix Matrix (Replace with So What)</vt:lpstr>
      <vt:lpstr>Mix Matrix by brand (Replace with So What)</vt:lpstr>
      <vt:lpstr>Sector Spending pool split (Replace with So What)</vt:lpstr>
      <vt:lpstr>Product Spending pool split (Replace with So What)</vt:lpstr>
      <vt:lpstr>SKU Profitability Analysis with TM% (Replace with So What)</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Aleaa SALAH</cp:lastModifiedBy>
  <cp:revision>32</cp:revision>
  <dcterms:created xsi:type="dcterms:W3CDTF">2024-07-05T15:31:56Z</dcterms:created>
  <dcterms:modified xsi:type="dcterms:W3CDTF">2025-04-28T08:3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